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4" r:id="rId2"/>
    <p:sldMasterId id="2147483782" r:id="rId3"/>
    <p:sldMasterId id="2147484056" r:id="rId4"/>
  </p:sldMasterIdLst>
  <p:notesMasterIdLst>
    <p:notesMasterId r:id="rId6"/>
  </p:notesMasterIdLst>
  <p:handoutMasterIdLst>
    <p:handoutMasterId r:id="rId7"/>
  </p:handoutMasterIdLst>
  <p:sldIdLst>
    <p:sldId id="1252" r:id="rId5"/>
  </p:sldIdLst>
  <p:sldSz cx="13442950" cy="7561263"/>
  <p:notesSz cx="6858000" cy="9144000"/>
  <p:custDataLst>
    <p:tags r:id="rId8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AE9E9"/>
    <a:srgbClr val="D7BB77"/>
    <a:srgbClr val="EB9E62"/>
    <a:srgbClr val="C7C9C7"/>
    <a:srgbClr val="FB3449"/>
    <a:srgbClr val="000000"/>
    <a:srgbClr val="CAC8C8"/>
    <a:srgbClr val="8547AD"/>
    <a:srgbClr val="3300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247" autoAdjust="0"/>
  </p:normalViewPr>
  <p:slideViewPr>
    <p:cSldViewPr snapToGrid="0">
      <p:cViewPr varScale="1">
        <p:scale>
          <a:sx n="100" d="100"/>
          <a:sy n="100" d="100"/>
        </p:scale>
        <p:origin x="600" y="96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2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3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ael Tull" userId="9b84a4a9-44d8-4d28-b1a8-900a431bc43d" providerId="ADAL" clId="{FDDFED47-AEE5-4941-995E-C765DF0C14CA}"/>
    <pc:docChg chg="custSel modSld">
      <pc:chgData name="Michael Tull" userId="9b84a4a9-44d8-4d28-b1a8-900a431bc43d" providerId="ADAL" clId="{FDDFED47-AEE5-4941-995E-C765DF0C14CA}" dt="2024-02-08T21:45:31.455" v="2247" actId="1076"/>
      <pc:docMkLst>
        <pc:docMk/>
      </pc:docMkLst>
      <pc:sldChg chg="modSp mod">
        <pc:chgData name="Michael Tull" userId="9b84a4a9-44d8-4d28-b1a8-900a431bc43d" providerId="ADAL" clId="{FDDFED47-AEE5-4941-995E-C765DF0C14CA}" dt="2024-02-08T21:45:31.455" v="2247" actId="1076"/>
        <pc:sldMkLst>
          <pc:docMk/>
          <pc:sldMk cId="3328249734" sldId="440"/>
        </pc:sldMkLst>
        <pc:spChg chg="mod">
          <ac:chgData name="Michael Tull" userId="9b84a4a9-44d8-4d28-b1a8-900a431bc43d" providerId="ADAL" clId="{FDDFED47-AEE5-4941-995E-C765DF0C14CA}" dt="2024-02-08T21:44:42.936" v="2240" actId="113"/>
          <ac:spMkLst>
            <pc:docMk/>
            <pc:sldMk cId="3328249734" sldId="440"/>
            <ac:spMk id="2" creationId="{C7A95611-4972-ED24-A703-0727DCD43CE6}"/>
          </ac:spMkLst>
        </pc:spChg>
        <pc:spChg chg="mod">
          <ac:chgData name="Michael Tull" userId="9b84a4a9-44d8-4d28-b1a8-900a431bc43d" providerId="ADAL" clId="{FDDFED47-AEE5-4941-995E-C765DF0C14CA}" dt="2024-02-08T21:45:22.045" v="2245" actId="6549"/>
          <ac:spMkLst>
            <pc:docMk/>
            <pc:sldMk cId="3328249734" sldId="440"/>
            <ac:spMk id="9" creationId="{248EF34C-E573-0882-4FF5-11D1D6DEC28D}"/>
          </ac:spMkLst>
        </pc:spChg>
        <pc:spChg chg="mod">
          <ac:chgData name="Michael Tull" userId="9b84a4a9-44d8-4d28-b1a8-900a431bc43d" providerId="ADAL" clId="{FDDFED47-AEE5-4941-995E-C765DF0C14CA}" dt="2024-02-08T21:44:16.126" v="2201" actId="20577"/>
          <ac:spMkLst>
            <pc:docMk/>
            <pc:sldMk cId="3328249734" sldId="440"/>
            <ac:spMk id="26" creationId="{9921AA37-18ED-8890-3BB0-A0042D4F3426}"/>
          </ac:spMkLst>
        </pc:spChg>
        <pc:picChg chg="mod">
          <ac:chgData name="Michael Tull" userId="9b84a4a9-44d8-4d28-b1a8-900a431bc43d" providerId="ADAL" clId="{FDDFED47-AEE5-4941-995E-C765DF0C14CA}" dt="2024-02-08T21:45:31.455" v="2247" actId="1076"/>
          <ac:picMkLst>
            <pc:docMk/>
            <pc:sldMk cId="3328249734" sldId="440"/>
            <ac:picMk id="31746" creationId="{35DA9D58-9AF8-B962-195D-A8F16783807F}"/>
          </ac:picMkLst>
        </pc:picChg>
        <pc:picChg chg="mod">
          <ac:chgData name="Michael Tull" userId="9b84a4a9-44d8-4d28-b1a8-900a431bc43d" providerId="ADAL" clId="{FDDFED47-AEE5-4941-995E-C765DF0C14CA}" dt="2024-02-08T21:45:29.392" v="2246" actId="1076"/>
          <ac:picMkLst>
            <pc:docMk/>
            <pc:sldMk cId="3328249734" sldId="440"/>
            <ac:picMk id="31748" creationId="{FD36DC5B-3A83-1959-176A-FCEE7D9FD2E6}"/>
          </ac:picMkLst>
        </pc:picChg>
      </pc:sldChg>
      <pc:sldChg chg="modSp mod">
        <pc:chgData name="Michael Tull" userId="9b84a4a9-44d8-4d28-b1a8-900a431bc43d" providerId="ADAL" clId="{FDDFED47-AEE5-4941-995E-C765DF0C14CA}" dt="2024-02-08T21:42:14.330" v="2200" actId="18654"/>
        <pc:sldMkLst>
          <pc:docMk/>
          <pc:sldMk cId="1974417307" sldId="1252"/>
        </pc:sldMkLst>
        <pc:spChg chg="mod">
          <ac:chgData name="Michael Tull" userId="9b84a4a9-44d8-4d28-b1a8-900a431bc43d" providerId="ADAL" clId="{FDDFED47-AEE5-4941-995E-C765DF0C14CA}" dt="2024-02-08T21:34:24.908" v="825" actId="1035"/>
          <ac:spMkLst>
            <pc:docMk/>
            <pc:sldMk cId="1974417307" sldId="1252"/>
            <ac:spMk id="4" creationId="{376BE082-3CFC-7F1E-C70F-04E2F25420B1}"/>
          </ac:spMkLst>
        </pc:spChg>
        <pc:spChg chg="mod">
          <ac:chgData name="Michael Tull" userId="9b84a4a9-44d8-4d28-b1a8-900a431bc43d" providerId="ADAL" clId="{FDDFED47-AEE5-4941-995E-C765DF0C14CA}" dt="2024-02-08T21:25:37.530" v="52" actId="6549"/>
          <ac:spMkLst>
            <pc:docMk/>
            <pc:sldMk cId="1974417307" sldId="1252"/>
            <ac:spMk id="12" creationId="{AD014442-68F8-06EF-4A16-D9AD65C38FFE}"/>
          </ac:spMkLst>
        </pc:spChg>
        <pc:spChg chg="mod">
          <ac:chgData name="Michael Tull" userId="9b84a4a9-44d8-4d28-b1a8-900a431bc43d" providerId="ADAL" clId="{FDDFED47-AEE5-4941-995E-C765DF0C14CA}" dt="2024-02-08T21:41:56.469" v="2196" actId="20577"/>
          <ac:spMkLst>
            <pc:docMk/>
            <pc:sldMk cId="1974417307" sldId="1252"/>
            <ac:spMk id="13" creationId="{68400FBF-8086-E048-85DB-109EB0D771E3}"/>
          </ac:spMkLst>
        </pc:spChg>
        <pc:graphicFrameChg chg="mod modGraphic">
          <ac:chgData name="Michael Tull" userId="9b84a4a9-44d8-4d28-b1a8-900a431bc43d" providerId="ADAL" clId="{FDDFED47-AEE5-4941-995E-C765DF0C14CA}" dt="2024-02-08T21:28:16.219" v="174" actId="6549"/>
          <ac:graphicFrameMkLst>
            <pc:docMk/>
            <pc:sldMk cId="1974417307" sldId="1252"/>
            <ac:graphicFrameMk id="14" creationId="{522A36EB-D6C9-5A1D-30B3-65599EE26905}"/>
          </ac:graphicFrameMkLst>
        </pc:graphicFrameChg>
        <pc:picChg chg="mod">
          <ac:chgData name="Michael Tull" userId="9b84a4a9-44d8-4d28-b1a8-900a431bc43d" providerId="ADAL" clId="{FDDFED47-AEE5-4941-995E-C765DF0C14CA}" dt="2024-02-08T21:42:14.330" v="2200" actId="18654"/>
          <ac:picMkLst>
            <pc:docMk/>
            <pc:sldMk cId="1974417307" sldId="1252"/>
            <ac:picMk id="8" creationId="{D061716F-BA19-D350-EA66-62B21C5E46E9}"/>
          </ac:picMkLst>
        </pc:picChg>
        <pc:picChg chg="mod">
          <ac:chgData name="Michael Tull" userId="9b84a4a9-44d8-4d28-b1a8-900a431bc43d" providerId="ADAL" clId="{FDDFED47-AEE5-4941-995E-C765DF0C14CA}" dt="2024-02-08T21:24:59.254" v="19" actId="18131"/>
          <ac:picMkLst>
            <pc:docMk/>
            <pc:sldMk cId="1974417307" sldId="1252"/>
            <ac:picMk id="15" creationId="{9AADAB09-95AB-6BD7-00EE-6020A733577E}"/>
          </ac:picMkLst>
        </pc:picChg>
        <pc:picChg chg="mod">
          <ac:chgData name="Michael Tull" userId="9b84a4a9-44d8-4d28-b1a8-900a431bc43d" providerId="ADAL" clId="{FDDFED47-AEE5-4941-995E-C765DF0C14CA}" dt="2024-02-08T21:24:45.625" v="16" actId="18131"/>
          <ac:picMkLst>
            <pc:docMk/>
            <pc:sldMk cId="1974417307" sldId="1252"/>
            <ac:picMk id="17" creationId="{440F9C58-91FC-596E-7D1C-0A675688CB70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2/9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2/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05936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77496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2950" cy="4560888"/>
          </a:xfrm>
          <a:prstGeom prst="rect">
            <a:avLst/>
          </a:prstGeom>
          <a:solidFill>
            <a:schemeClr val="accent5"/>
          </a:solidFill>
        </p:spPr>
        <p:txBody>
          <a:bodyPr anchor="t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20908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30007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0075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01089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3747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96887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536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2785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86387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160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95002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989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7980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707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07707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5588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669214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92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39981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7804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91879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867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34806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92564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oleObject" Target="../embeddings/oleObject13.bin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tags" Target="../tags/tag14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742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941" r:id="rId11"/>
    <p:sldLayoutId id="2147484060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6350000" imgH="6350000" progId="">
                  <p:embed/>
                </p:oleObj>
              </mc:Choice>
              <mc:Fallback>
                <p:oleObj name="think-cell Slide" r:id="rId2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40" r:id="rId2"/>
    <p:sldLayoutId id="2147484049" r:id="rId3"/>
    <p:sldLayoutId id="2147484050" r:id="rId4"/>
    <p:sldLayoutId id="2147483699" r:id="rId5"/>
    <p:sldLayoutId id="2147483700" r:id="rId6"/>
    <p:sldLayoutId id="2147483739" r:id="rId7"/>
    <p:sldLayoutId id="2147483701" r:id="rId8"/>
    <p:sldLayoutId id="2147483702" r:id="rId9"/>
    <p:sldLayoutId id="2147483703" r:id="rId10"/>
    <p:sldLayoutId id="2147483704" r:id="rId11"/>
    <p:sldLayoutId id="2147483929" r:id="rId12"/>
    <p:sldLayoutId id="2147483930" r:id="rId13"/>
    <p:sldLayoutId id="2147483706" r:id="rId14"/>
    <p:sldLayoutId id="2147483707" r:id="rId15"/>
    <p:sldLayoutId id="2147483712" r:id="rId16"/>
    <p:sldLayoutId id="2147484037" r:id="rId17"/>
    <p:sldLayoutId id="2147484053" r:id="rId18"/>
    <p:sldLayoutId id="2147484038" r:id="rId19"/>
    <p:sldLayoutId id="2147484042" r:id="rId20"/>
    <p:sldLayoutId id="2147484043" r:id="rId21"/>
    <p:sldLayoutId id="2147484044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0751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.jpe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1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8400FBF-8086-E048-85DB-109EB0D771E3}"/>
              </a:ext>
            </a:extLst>
          </p:cNvPr>
          <p:cNvSpPr txBox="1">
            <a:spLocks/>
          </p:cNvSpPr>
          <p:nvPr/>
        </p:nvSpPr>
        <p:spPr bwMode="gray">
          <a:xfrm>
            <a:off x="270000" y="1057417"/>
            <a:ext cx="5353973" cy="27392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1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rgbClr val="000000"/>
              </a:buClr>
              <a:defRPr/>
            </a:pPr>
            <a:r>
              <a:rPr lang="en-GB" dirty="0">
                <a:solidFill>
                  <a:schemeClr val="accent2"/>
                </a:solidFill>
                <a:cs typeface="Arial"/>
              </a:rPr>
              <a:t>Background &amp; Plan</a:t>
            </a:r>
          </a:p>
          <a:p>
            <a:pPr>
              <a:lnSpc>
                <a:spcPct val="100000"/>
              </a:lnSpc>
              <a:buClr>
                <a:srgbClr val="000000"/>
              </a:buClr>
              <a:defRPr/>
            </a:pPr>
            <a:endParaRPr lang="en-GB" sz="1200" dirty="0">
              <a:solidFill>
                <a:schemeClr val="bg2"/>
              </a:solidFill>
              <a:cs typeface="Arial"/>
            </a:endParaRPr>
          </a:p>
          <a:p>
            <a:pPr marL="171450" indent="-171450">
              <a:lnSpc>
                <a:spcPct val="100000"/>
              </a:lnSpc>
              <a:spcAft>
                <a:spcPts val="800"/>
              </a:spcAft>
              <a:buClr>
                <a:schemeClr val="bg1"/>
              </a:buClr>
              <a:buFont typeface="Lucida Grande"/>
              <a:buChar char="-"/>
            </a:pPr>
            <a:r>
              <a:rPr lang="en-GB" sz="1100" b="0" dirty="0"/>
              <a:t>Audi has consistently used cinema because of its ability to reach the target affluent audience in a high-attention environment that can also help re-affirm the brand’s premium and prestige perceptions. </a:t>
            </a:r>
          </a:p>
          <a:p>
            <a:pPr marL="171450" indent="-171450">
              <a:lnSpc>
                <a:spcPct val="100000"/>
              </a:lnSpc>
              <a:spcAft>
                <a:spcPts val="800"/>
              </a:spcAft>
              <a:buClr>
                <a:schemeClr val="bg1"/>
              </a:buClr>
              <a:buFont typeface="Lucida Grande"/>
              <a:buChar char="-"/>
            </a:pPr>
            <a:r>
              <a:rPr lang="en-GB" sz="1100" b="0" dirty="0"/>
              <a:t>In 2023, as well as continuing to invest in premium positions across cherry-picked relevant titles, Audi wanted to test out the incremental impact that the ad could have if converted into full Screen X format. </a:t>
            </a:r>
          </a:p>
          <a:p>
            <a:pPr marL="171450" indent="-171450">
              <a:lnSpc>
                <a:spcPct val="100000"/>
              </a:lnSpc>
              <a:spcAft>
                <a:spcPts val="800"/>
              </a:spcAft>
              <a:buClr>
                <a:schemeClr val="bg1"/>
              </a:buClr>
              <a:buFont typeface="Lucida Grande"/>
              <a:buChar char="-"/>
            </a:pPr>
            <a:r>
              <a:rPr lang="en-GB" sz="1100" b="0" dirty="0"/>
              <a:t>The cinema campaign was running alongside a wider AV campaign that included BVOD, Social, Online, and Outdoor.</a:t>
            </a:r>
          </a:p>
          <a:p>
            <a:pPr marL="171450" indent="-171450">
              <a:lnSpc>
                <a:spcPct val="100000"/>
              </a:lnSpc>
              <a:spcAft>
                <a:spcPts val="800"/>
              </a:spcAft>
              <a:buClr>
                <a:schemeClr val="bg1"/>
              </a:buClr>
              <a:buFont typeface="Lucida Grande"/>
              <a:buChar char="-"/>
            </a:pPr>
            <a:r>
              <a:rPr lang="en-GB" sz="1100" b="0" dirty="0"/>
              <a:t>DCM commissioned research to help Audi understand the differences between those unexposed to the ad in cinema (Control), those who saw the standard ad of in the </a:t>
            </a:r>
            <a:r>
              <a:rPr lang="en-GB" sz="1100" b="0" i="1" dirty="0"/>
              <a:t>Wonka </a:t>
            </a:r>
            <a:r>
              <a:rPr lang="en-GB" sz="1100" b="0" dirty="0"/>
              <a:t>Gold Spot (Test 1) and those who saw the Screen X version of the ad in Screen X showings of </a:t>
            </a:r>
            <a:r>
              <a:rPr lang="en-GB" sz="1100" b="0" i="1" dirty="0"/>
              <a:t>The Marvels </a:t>
            </a:r>
            <a:r>
              <a:rPr lang="en-GB" sz="1100" b="0" dirty="0"/>
              <a:t>(Test 2).</a:t>
            </a:r>
            <a:r>
              <a:rPr lang="en-GB" sz="1100" b="0" i="1" dirty="0"/>
              <a:t> </a:t>
            </a:r>
            <a:endParaRPr lang="en-GB" sz="1100" b="0" dirty="0">
              <a:solidFill>
                <a:schemeClr val="bg1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UD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7F459C-7879-48F2-85C6-B112AC93597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0000" y="653694"/>
            <a:ext cx="5961600" cy="436608"/>
          </a:xfrm>
        </p:spPr>
        <p:txBody>
          <a:bodyPr/>
          <a:lstStyle/>
          <a:p>
            <a:r>
              <a:rPr lang="en-GB" dirty="0"/>
              <a:t>Life is a Work in Progress</a:t>
            </a: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8275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2751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AD014442-68F8-06EF-4A16-D9AD65C38FFE}"/>
              </a:ext>
            </a:extLst>
          </p:cNvPr>
          <p:cNvSpPr/>
          <p:nvPr/>
        </p:nvSpPr>
        <p:spPr>
          <a:xfrm>
            <a:off x="-31530" y="7143006"/>
            <a:ext cx="1344294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54246">
              <a:defRPr/>
            </a:pPr>
            <a:r>
              <a:rPr lang="en-US" sz="800" b="1" dirty="0">
                <a:solidFill>
                  <a:srgbClr val="000000"/>
                </a:solidFill>
                <a:latin typeface="Arial"/>
              </a:rPr>
              <a:t>Source: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DCM / Audi. Conducted by; Differentology, Nov 2023. </a:t>
            </a:r>
          </a:p>
          <a:p>
            <a:pPr algn="r" defTabSz="654246">
              <a:defRPr/>
            </a:pPr>
            <a:r>
              <a:rPr lang="en-GB" sz="800" dirty="0">
                <a:solidFill>
                  <a:srgbClr val="000000"/>
                </a:solidFill>
                <a:latin typeface="Arial"/>
              </a:rPr>
              <a:t>Results b</a:t>
            </a:r>
            <a:r>
              <a:rPr lang="en-US" sz="800" dirty="0" err="1">
                <a:solidFill>
                  <a:srgbClr val="000000"/>
                </a:solidFill>
                <a:latin typeface="Arial"/>
              </a:rPr>
              <a:t>ase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: 16+, Uplifts are control (unexposed to ad)</a:t>
            </a:r>
            <a:r>
              <a:rPr lang="en-US" sz="800" dirty="0">
                <a:solidFill>
                  <a:srgbClr val="000000"/>
                </a:solidFill>
              </a:rPr>
              <a:t> vs test 1 (exposed to gold spot ad) vs test 2 (exposed to Screen X ad) </a:t>
            </a: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14" name="Table 5">
            <a:extLst>
              <a:ext uri="{FF2B5EF4-FFF2-40B4-BE49-F238E27FC236}">
                <a16:creationId xmlns:a16="http://schemas.microsoft.com/office/drawing/2014/main" id="{522A36EB-D6C9-5A1D-30B3-65599EE269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980173"/>
              </p:ext>
            </p:extLst>
          </p:nvPr>
        </p:nvGraphicFramePr>
        <p:xfrm>
          <a:off x="6358074" y="297365"/>
          <a:ext cx="6440721" cy="6145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89382">
                  <a:extLst>
                    <a:ext uri="{9D8B030D-6E8A-4147-A177-3AD203B41FA5}">
                      <a16:colId xmlns:a16="http://schemas.microsoft.com/office/drawing/2014/main" val="1043653864"/>
                    </a:ext>
                  </a:extLst>
                </a:gridCol>
                <a:gridCol w="1447667">
                  <a:extLst>
                    <a:ext uri="{9D8B030D-6E8A-4147-A177-3AD203B41FA5}">
                      <a16:colId xmlns:a16="http://schemas.microsoft.com/office/drawing/2014/main" val="1969532920"/>
                    </a:ext>
                  </a:extLst>
                </a:gridCol>
                <a:gridCol w="1508834">
                  <a:extLst>
                    <a:ext uri="{9D8B030D-6E8A-4147-A177-3AD203B41FA5}">
                      <a16:colId xmlns:a16="http://schemas.microsoft.com/office/drawing/2014/main" val="696929619"/>
                    </a:ext>
                  </a:extLst>
                </a:gridCol>
                <a:gridCol w="1232628">
                  <a:extLst>
                    <a:ext uri="{9D8B030D-6E8A-4147-A177-3AD203B41FA5}">
                      <a16:colId xmlns:a16="http://schemas.microsoft.com/office/drawing/2014/main" val="214587584"/>
                    </a:ext>
                  </a:extLst>
                </a:gridCol>
                <a:gridCol w="1162210">
                  <a:extLst>
                    <a:ext uri="{9D8B030D-6E8A-4147-A177-3AD203B41FA5}">
                      <a16:colId xmlns:a16="http://schemas.microsoft.com/office/drawing/2014/main" val="1729032941"/>
                    </a:ext>
                  </a:extLst>
                </a:gridCol>
              </a:tblGrid>
              <a:tr h="307275"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arget Audien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ackag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edia Agenc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opy Length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0483068"/>
                  </a:ext>
                </a:extLst>
              </a:tr>
              <a:tr h="307275">
                <a:tc>
                  <a:txBody>
                    <a:bodyPr/>
                    <a:lstStyle/>
                    <a:p>
                      <a:pPr algn="ctr"/>
                      <a:r>
                        <a:rPr lang="en-GB" sz="10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utomotiv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BC1 Adults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creen 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H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0”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671331"/>
                  </a:ext>
                </a:extLst>
              </a:tr>
            </a:tbl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3370A88-9DB0-CD3D-2975-8092421AF523}"/>
              </a:ext>
            </a:extLst>
          </p:cNvPr>
          <p:cNvCxnSpPr>
            <a:cxnSpLocks/>
          </p:cNvCxnSpPr>
          <p:nvPr/>
        </p:nvCxnSpPr>
        <p:spPr>
          <a:xfrm>
            <a:off x="6123707" y="397843"/>
            <a:ext cx="0" cy="6210446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376BE082-3CFC-7F1E-C70F-04E2F25420B1}"/>
              </a:ext>
            </a:extLst>
          </p:cNvPr>
          <p:cNvSpPr txBox="1">
            <a:spLocks/>
          </p:cNvSpPr>
          <p:nvPr/>
        </p:nvSpPr>
        <p:spPr bwMode="gray">
          <a:xfrm>
            <a:off x="6358074" y="3164263"/>
            <a:ext cx="6814876" cy="36054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1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rgbClr val="000000"/>
              </a:buClr>
              <a:defRPr/>
            </a:pPr>
            <a:r>
              <a:rPr lang="en-GB" dirty="0">
                <a:solidFill>
                  <a:schemeClr val="accent2"/>
                </a:solidFill>
                <a:cs typeface="Arial"/>
              </a:rPr>
              <a:t>Results</a:t>
            </a:r>
          </a:p>
          <a:p>
            <a:pPr marL="0" marR="0" lvl="0" indent="0" algn="just" defTabSz="961844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Audi 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saw the benefit of using an immersive format to maximise attention and impact of its creative within cinema, seeing </a:t>
            </a:r>
            <a:r>
              <a:rPr lang="en-GB" sz="1050" b="0" dirty="0"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significant uplifts across key brand and engagement metrics. </a:t>
            </a:r>
          </a:p>
          <a:p>
            <a:pPr marL="0" marR="0" lvl="0" indent="0" defTabSz="961844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20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Awareness</a:t>
            </a:r>
            <a:br>
              <a:rPr kumimoji="0" lang="en-GB" sz="120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GB" sz="1050" b="0" dirty="0">
                <a:ea typeface="Calibri" panose="020F0502020204030204" pitchFamily="34" charset="0"/>
                <a:cs typeface="Times New Roman" panose="02020603050405020304" pitchFamily="18" charset="0"/>
              </a:rPr>
              <a:t>More than </a:t>
            </a:r>
            <a:r>
              <a:rPr lang="en-GB" sz="1050" b="0" dirty="0">
                <a:solidFill>
                  <a:schemeClr val="accent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 in 3 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Test Screen X respondents were aware of Audi as an electric car brand (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+24% 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significant uplift from control) </a:t>
            </a:r>
          </a:p>
          <a:p>
            <a:pPr marL="0" marR="0" lvl="0" indent="0" defTabSz="961844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20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Recall</a:t>
            </a:r>
            <a:br>
              <a:rPr kumimoji="0" lang="en-GB" sz="120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75%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 of Screen X cinemagoers were able to recall having seen the Audi activity before, a 9% uplift from those just exposed to the ad in the normal screen </a:t>
            </a:r>
          </a:p>
          <a:p>
            <a:pPr marL="0" marR="0" lvl="0" indent="0" defTabSz="961844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GB" sz="1200" dirty="0">
                <a:solidFill>
                  <a:schemeClr val="accent2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Associations</a:t>
            </a:r>
            <a:br>
              <a:rPr lang="en-GB" sz="1200" dirty="0">
                <a:solidFill>
                  <a:schemeClr val="accent2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GB" sz="1050" b="0" dirty="0" err="1"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Associations</a:t>
            </a:r>
            <a:r>
              <a:rPr lang="en-GB" sz="1050" b="0" dirty="0"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 with ‘Life is a Work in Progress’ improved by </a:t>
            </a:r>
            <a:r>
              <a:rPr lang="en-GB" sz="1050" b="0" dirty="0">
                <a:solidFill>
                  <a:schemeClr val="accent2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+63% </a:t>
            </a:r>
            <a:r>
              <a:rPr lang="en-GB" sz="1050" b="0" dirty="0"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for the Screen X test group.</a:t>
            </a:r>
          </a:p>
          <a:p>
            <a:pPr marL="0" marR="0" lvl="0" indent="0" defTabSz="961844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20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Perceptions</a:t>
            </a:r>
            <a:br>
              <a:rPr kumimoji="0" lang="en-GB" sz="120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GB" sz="1050" b="0" dirty="0">
                <a:latin typeface="Arial"/>
                <a:cs typeface="Times New Roman" panose="02020603050405020304" pitchFamily="18" charset="0"/>
              </a:rPr>
              <a:t>Agreement with the key perception that 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‘Audi is a prestige brand’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 saw significant improvement (+15%) after exposure to the Screen X ad, suggesting that using this format was beneficial in driving quality and stature perceptions for Audi by standing out from other advertisers in the reel (who hadn’t utilised the Screen X format)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defTabSz="961844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20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Appeal of Screen X</a:t>
            </a:r>
            <a:br>
              <a:rPr kumimoji="0" lang="en-GB" sz="120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GB" sz="1050" b="0" dirty="0">
                <a:ea typeface="Calibri" panose="020F0502020204030204" pitchFamily="34" charset="0"/>
                <a:cs typeface="Times New Roman" panose="02020603050405020304" pitchFamily="18" charset="0"/>
              </a:rPr>
              <a:t>56% </a:t>
            </a:r>
            <a:r>
              <a:rPr lang="en-GB" sz="1050" b="0" dirty="0"/>
              <a:t>agreed that seeing the bespoke Screen X ad made it </a:t>
            </a:r>
            <a:r>
              <a:rPr lang="en-GB" sz="1050" b="0" dirty="0">
                <a:solidFill>
                  <a:schemeClr val="accent2"/>
                </a:solidFill>
              </a:rPr>
              <a:t>more impactful, easier to remember</a:t>
            </a:r>
            <a:r>
              <a:rPr lang="en-GB" sz="1050" b="0" dirty="0"/>
              <a:t>, and/or </a:t>
            </a:r>
            <a:r>
              <a:rPr lang="en-GB" sz="1050" b="0" dirty="0">
                <a:solidFill>
                  <a:schemeClr val="accent2"/>
                </a:solidFill>
              </a:rPr>
              <a:t>enjoyable. </a:t>
            </a:r>
            <a:endParaRPr lang="en-GB" sz="1050" b="0" kern="1000" dirty="0">
              <a:latin typeface="Arial"/>
              <a:cs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061716F-BA19-D350-EA66-62B21C5E46E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7224" y="4124372"/>
            <a:ext cx="5452023" cy="2690890"/>
          </a:xfrm>
          <a:prstGeom prst="rect">
            <a:avLst/>
          </a:prstGeom>
        </p:spPr>
      </p:pic>
      <p:pic>
        <p:nvPicPr>
          <p:cNvPr id="17" name="Picture 2" descr="Marvel Studios' “Captain Marvel” to be Released in ScreenX - Celluloid  Junkie">
            <a:extLst>
              <a:ext uri="{FF2B5EF4-FFF2-40B4-BE49-F238E27FC236}">
                <a16:creationId xmlns:a16="http://schemas.microsoft.com/office/drawing/2014/main" id="{440F9C58-91FC-596E-7D1C-0A675688CB7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617473" y="1191378"/>
            <a:ext cx="3181322" cy="1789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669AFBD-1F78-ADD6-71A3-8DE05A7DDFA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8101" r="7326"/>
          <a:stretch/>
        </p:blipFill>
        <p:spPr>
          <a:xfrm>
            <a:off x="6378168" y="1191378"/>
            <a:ext cx="3181323" cy="1789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441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4B9F03D9-2B03-1B46-9E4E-AF5BDA70FAD6}"/>
    </a:ext>
  </a:extLst>
</a:theme>
</file>

<file path=ppt/theme/theme2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F42B4113-7D75-1742-BAD8-F2115512947F}"/>
    </a:ext>
  </a:extLst>
</a:theme>
</file>

<file path=ppt/theme/theme3.xml><?xml version="1.0" encoding="utf-8"?>
<a:theme xmlns:a="http://schemas.openxmlformats.org/drawingml/2006/main" name="2_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0B0B607F-089B-6844-A8D9-24E3A5F3413A}"/>
    </a:ext>
  </a:extLst>
</a:theme>
</file>

<file path=ppt/theme/theme4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595</TotalTime>
  <Words>431</Words>
  <Application>Microsoft Office PowerPoint</Application>
  <PresentationFormat>Custom</PresentationFormat>
  <Paragraphs>2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rial</vt:lpstr>
      <vt:lpstr>Calibri</vt:lpstr>
      <vt:lpstr>Century Gothic</vt:lpstr>
      <vt:lpstr>Impact</vt:lpstr>
      <vt:lpstr>Lucida Grande</vt:lpstr>
      <vt:lpstr>Wingdings</vt:lpstr>
      <vt:lpstr>Divider Slides</vt:lpstr>
      <vt:lpstr>Copy Slides</vt:lpstr>
      <vt:lpstr>2_Blank with title</vt:lpstr>
      <vt:lpstr>think-cell Slide</vt:lpstr>
      <vt:lpstr>AUDI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hael Tull</dc:creator>
  <cp:lastModifiedBy>Emily Ezekiel</cp:lastModifiedBy>
  <cp:revision>65</cp:revision>
  <dcterms:created xsi:type="dcterms:W3CDTF">2022-06-22T15:38:41Z</dcterms:created>
  <dcterms:modified xsi:type="dcterms:W3CDTF">2024-02-09T13:16:43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